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Weigel Stefan (PAR-EPS)" userId="fd3b2067-2981-4ad8-bf3a-d2e1004e4fa8" providerId="ADAL" clId="{4B5EC395-064F-430D-80DA-B4A951B1CB14}"/>
    <pc:docChg chg="modSld">
      <pc:chgData name="Weigel Stefan (PAR-EPS)" userId="fd3b2067-2981-4ad8-bf3a-d2e1004e4fa8" providerId="ADAL" clId="{4B5EC395-064F-430D-80DA-B4A951B1CB14}" dt="2024-04-26T07:21:48.832" v="61" actId="27918"/>
      <pc:docMkLst>
        <pc:docMk/>
      </pc:docMkLst>
      <pc:sldChg chg="modSp mod">
        <pc:chgData name="Weigel Stefan (PAR-EPS)" userId="fd3b2067-2981-4ad8-bf3a-d2e1004e4fa8" providerId="ADAL" clId="{4B5EC395-064F-430D-80DA-B4A951B1CB14}" dt="2024-04-26T07:21:48.832" v="61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</pc:sldChg>
    </pc:docChg>
  </pc:docChgLst>
  <pc:docChgLst>
    <pc:chgData name="Weigel Stefan (PAR-EPS)" userId="fd3b2067-2981-4ad8-bf3a-d2e1004e4fa8" providerId="ADAL" clId="{656DFC00-9B78-4399-8A83-044EC7EA682B}"/>
    <pc:docChg chg="modSld">
      <pc:chgData name="Weigel Stefan (PAR-EPS)" userId="fd3b2067-2981-4ad8-bf3a-d2e1004e4fa8" providerId="ADAL" clId="{656DFC00-9B78-4399-8A83-044EC7EA682B}" dt="2024-02-02T11:42:10.183" v="106" actId="27918"/>
      <pc:docMkLst>
        <pc:docMk/>
      </pc:docMkLst>
      <pc:sldChg chg="mod">
        <pc:chgData name="Weigel Stefan (PAR-EPS)" userId="fd3b2067-2981-4ad8-bf3a-d2e1004e4fa8" providerId="ADAL" clId="{656DFC00-9B78-4399-8A83-044EC7EA682B}" dt="2024-02-02T11:42:10.183" v="106" actId="27918"/>
        <pc:sldMkLst>
          <pc:docMk/>
          <pc:sldMk cId="3865012081" sldId="415"/>
        </pc:sldMkLst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</pc:sldChg>
    </pc:docChg>
  </pc:docChgLst>
  <pc:docChgLst>
    <pc:chgData name="Meyer Raphael (PAR-EPS)" userId="79615dfe-ed48-4e74-a40f-4f7b034c1c27" providerId="ADAL" clId="{DEF3271C-96C0-4224-9716-B9837A934B06}"/>
    <pc:docChg chg="modSld">
      <pc:chgData name="Meyer Raphael (PAR-EPS)" userId="79615dfe-ed48-4e74-a40f-4f7b034c1c27" providerId="ADAL" clId="{DEF3271C-96C0-4224-9716-B9837A934B06}" dt="2025-01-27T12:58:04.022" v="1" actId="27918"/>
      <pc:docMkLst>
        <pc:docMk/>
      </pc:docMkLst>
      <pc:sldChg chg="mod">
        <pc:chgData name="Meyer Raphael (PAR-EPS)" userId="79615dfe-ed48-4e74-a40f-4f7b034c1c27" providerId="ADAL" clId="{DEF3271C-96C0-4224-9716-B9837A934B06}" dt="2025-01-27T12:58:04.022" v="1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</pc:sldChg>
    </pc:docChg>
  </pc:docChgLst>
  <pc:docChgLst>
    <pc:chgData name="Weigel Stefan (PAR-EPS)" userId="fd3b2067-2981-4ad8-bf3a-d2e1004e4fa8" providerId="ADAL" clId="{3A472D7B-CFA3-4C8D-8F34-1ECCE952B027}"/>
    <pc:docChg chg="modSld">
      <pc:chgData name="Weigel Stefan (PAR-EPS)" userId="fd3b2067-2981-4ad8-bf3a-d2e1004e4fa8" providerId="ADAL" clId="{3A472D7B-CFA3-4C8D-8F34-1ECCE952B027}" dt="2025-02-24T11:02:33.606" v="53" actId="20577"/>
      <pc:docMkLst>
        <pc:docMk/>
      </pc:docMkLst>
      <pc:sldChg chg="modSp mod">
        <pc:chgData name="Weigel Stefan (PAR-EPS)" userId="fd3b2067-2981-4ad8-bf3a-d2e1004e4fa8" providerId="ADAL" clId="{3A472D7B-CFA3-4C8D-8F34-1ECCE952B027}" dt="2025-02-24T11:02:33.606" v="53" actId="20577"/>
        <pc:sldMkLst>
          <pc:docMk/>
          <pc:sldMk cId="3865012081" sldId="415"/>
        </pc:sldMkLst>
        <pc:spChg chg="mod">
          <ac:chgData name="Weigel Stefan (PAR-EPS)" userId="fd3b2067-2981-4ad8-bf3a-d2e1004e4fa8" providerId="ADAL" clId="{3A472D7B-CFA3-4C8D-8F34-1ECCE952B027}" dt="2025-02-24T11:02:33.606" v="53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Weigel Stefan (PAR-EPS)" userId="fd3b2067-2981-4ad8-bf3a-d2e1004e4fa8" providerId="ADAL" clId="{3A472D7B-CFA3-4C8D-8F34-1ECCE952B027}" dt="2025-02-14T18:21:18.622" v="8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2447868605344257"/>
          <c:w val="0.79430876353508262"/>
          <c:h val="0.62646005551913708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7301999999999997E-2</c:v>
                </c:pt>
                <c:pt idx="5">
                  <c:v>0.80418599999999996</c:v>
                </c:pt>
                <c:pt idx="6">
                  <c:v>3.9528020000000001</c:v>
                </c:pt>
                <c:pt idx="7">
                  <c:v>9.4050329999999995</c:v>
                </c:pt>
                <c:pt idx="8">
                  <c:v>17.491479000000002</c:v>
                </c:pt>
                <c:pt idx="9">
                  <c:v>23.327812000000002</c:v>
                </c:pt>
                <c:pt idx="10">
                  <c:v>31.14158700000000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u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3.118081</c:v>
                </c:pt>
                <c:pt idx="1">
                  <c:v>17.974157000000002</c:v>
                </c:pt>
                <c:pt idx="2">
                  <c:v>24.389900000000001</c:v>
                </c:pt>
                <c:pt idx="3">
                  <c:v>32.353721</c:v>
                </c:pt>
                <c:pt idx="4">
                  <c:v>44.220541999999995</c:v>
                </c:pt>
                <c:pt idx="5">
                  <c:v>64.436859999999996</c:v>
                </c:pt>
                <c:pt idx="6">
                  <c:v>51.198005000000002</c:v>
                </c:pt>
                <c:pt idx="7">
                  <c:v>73.108429000000001</c:v>
                </c:pt>
                <c:pt idx="8">
                  <c:v>104.073866</c:v>
                </c:pt>
                <c:pt idx="9">
                  <c:v>126.675342</c:v>
                </c:pt>
                <c:pt idx="10">
                  <c:v>143.51680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Billettautomat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8.869484999999997</c:v>
                </c:pt>
                <c:pt idx="1">
                  <c:v>47.893855000000002</c:v>
                </c:pt>
                <c:pt idx="2">
                  <c:v>49.305990000000001</c:v>
                </c:pt>
                <c:pt idx="3">
                  <c:v>48.396062999999998</c:v>
                </c:pt>
                <c:pt idx="4">
                  <c:v>46.495206000000003</c:v>
                </c:pt>
                <c:pt idx="5">
                  <c:v>42.206930999999997</c:v>
                </c:pt>
                <c:pt idx="6">
                  <c:v>24.688984000000001</c:v>
                </c:pt>
                <c:pt idx="7">
                  <c:v>24.878795</c:v>
                </c:pt>
                <c:pt idx="8">
                  <c:v>28.877310000000001</c:v>
                </c:pt>
                <c:pt idx="9">
                  <c:v>27.097303</c:v>
                </c:pt>
                <c:pt idx="10">
                  <c:v>24.156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Reisezentren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0.913478999999999</c:v>
                </c:pt>
                <c:pt idx="1">
                  <c:v>19.757598999999999</c:v>
                </c:pt>
                <c:pt idx="2">
                  <c:v>15.980143999999999</c:v>
                </c:pt>
                <c:pt idx="3">
                  <c:v>14.588436</c:v>
                </c:pt>
                <c:pt idx="4">
                  <c:v>12.655569</c:v>
                </c:pt>
                <c:pt idx="5">
                  <c:v>11.47528</c:v>
                </c:pt>
                <c:pt idx="6">
                  <c:v>5.9818119999999997</c:v>
                </c:pt>
                <c:pt idx="7">
                  <c:v>6.406377</c:v>
                </c:pt>
                <c:pt idx="8">
                  <c:v>8.9507290000000008</c:v>
                </c:pt>
                <c:pt idx="9">
                  <c:v>9.2324219999999997</c:v>
                </c:pt>
                <c:pt idx="10">
                  <c:v>8.766420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Übrig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447330000000058</c:v>
                </c:pt>
                <c:pt idx="1">
                  <c:v>1.9853100000000019</c:v>
                </c:pt>
                <c:pt idx="2">
                  <c:v>2.7727089999999954</c:v>
                </c:pt>
                <c:pt idx="3">
                  <c:v>3.5255739999999989</c:v>
                </c:pt>
                <c:pt idx="4">
                  <c:v>3.9583979999999954</c:v>
                </c:pt>
                <c:pt idx="5">
                  <c:v>4.7055430000000058</c:v>
                </c:pt>
                <c:pt idx="6">
                  <c:v>3.9473689999999948</c:v>
                </c:pt>
                <c:pt idx="7">
                  <c:v>4.2629159999999899</c:v>
                </c:pt>
                <c:pt idx="8">
                  <c:v>5.5397880000000299</c:v>
                </c:pt>
                <c:pt idx="9">
                  <c:v>6.5444120000000225</c:v>
                </c:pt>
                <c:pt idx="10">
                  <c:v>7.7272439999999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82968888625425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3629</cdr:y>
    </cdr:from>
    <cdr:to>
      <cdr:x>0.17842</cdr:x>
      <cdr:y>0.08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190371"/>
          <a:ext cx="927461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Mio. Bill./Abo.</a:t>
          </a:r>
          <a:endParaRPr lang="de-CH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13622042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 err="1"/>
              <a:t>Billettabsatz</a:t>
            </a:r>
            <a:r>
              <a:rPr lang="de-CH" dirty="0"/>
              <a:t> nach Verkaufskanal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68017" y="6011247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Übrige: Automatische Abonnementsverlängerung, Partnervertrieb und SBB Contact Center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837" y="57094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893C3F1-B89F-4B1A-BC93-5A767697FF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illettabsatz nach Verkaufskana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lettabsatz nach Verkaufskanal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